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150"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C57B2AC5-911C-47BE-8D5C-F8C37B92A5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080A22F3-70B7-460C-B01A-6EB054E056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18876DCE-3B70-441A-A3CD-8ED5272ACA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1</c:v>
                </c:pt>
                <c:pt idx="1">
                  <c:v>0.36</c:v>
                </c:pt>
                <c:pt idx="2">
                  <c:v>0.33</c:v>
                </c:pt>
                <c:pt idx="3">
                  <c:v>0.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1%</c:v>
                  </c:pt>
                  <c:pt idx="1">
                    <c:v>36%</c:v>
                  </c:pt>
                  <c:pt idx="2">
                    <c:v>33%</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F90B8F38-898F-4AE2-AFB7-6FD0E0651C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BB4FB208-7568-42F8-B8CB-C8CA4DEEE5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F3B5F1A-CD41-46F2-ABF6-BCF908FFB2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2</c:v>
                </c:pt>
                <c:pt idx="2">
                  <c:v>0.5</c:v>
                </c:pt>
                <c:pt idx="3">
                  <c:v>0.37</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0%</c:v>
                  </c:pt>
                  <c:pt idx="1">
                    <c:v>12%</c:v>
                  </c:pt>
                  <c:pt idx="2">
                    <c:v>50%</c:v>
                  </c:pt>
                  <c:pt idx="3">
                    <c:v>3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69</c:v>
                </c:pt>
                <c:pt idx="1">
                  <c:v>0.75</c:v>
                </c:pt>
                <c:pt idx="2">
                  <c:v>0.87</c:v>
                </c:pt>
                <c:pt idx="3">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5AD1A7B0-3246-4FFF-9AF7-0B4FF770D46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7B0D9962-7BD0-49CB-8752-C5DD65AAA9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AA0CDE8-69AD-4D74-8C1E-567266F966A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31</c:v>
                </c:pt>
                <c:pt idx="1">
                  <c:v>0.25</c:v>
                </c:pt>
                <c:pt idx="2">
                  <c:v>0.13</c:v>
                </c:pt>
                <c:pt idx="3">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69%</c:v>
                  </c:pt>
                  <c:pt idx="1">
                    <c:v>75%</c:v>
                  </c:pt>
                  <c:pt idx="2">
                    <c:v>87%</c:v>
                  </c:pt>
                  <c:pt idx="3">
                    <c:v>8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9</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F3432381-22AD-4561-8B5E-65FB5D93614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85D5DC94-68B9-43FC-8DE0-093AFA95CE2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4EBFC19C-CC36-4F2C-B87F-53E9E1CBFC5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7972536C-D9E3-43BB-B5F7-F65B4F998B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1</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4</c:v>
                </c:pt>
                <c:pt idx="1">
                  <c:v>0.84</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345B94C3-A6A3-4A1A-BFA4-C538064DCA4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D7B775EF-71FB-45ED-B40F-B1FFD518ABE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22452B0D-4E5C-4FB6-958A-D48D8E47302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72FBF7B1-13E9-4D72-B356-1466C411552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6</c:v>
                </c:pt>
                <c:pt idx="1">
                  <c:v>0.16</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4%</c:v>
                  </c:pt>
                  <c:pt idx="1">
                    <c:v>84%</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52C0FB5E-92E8-4BB7-8760-F79B3C732B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85C4C2B0-C7BE-4E28-99E0-02F4DD942E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79%</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8%</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7</c:v>
                </c:pt>
                <c:pt idx="1">
                  <c:v>0.88</c:v>
                </c:pt>
                <c:pt idx="2">
                  <c:v>0.85</c:v>
                </c:pt>
                <c:pt idx="3">
                  <c:v>0.89</c:v>
                </c:pt>
                <c:pt idx="4">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783F4F5D-D02A-445C-A3CC-1A0B024431E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1F97AFEF-7929-4C10-93DD-4017148ABE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F5A27DAE-B1AE-4F35-9D5B-6765D50BC45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DC3806B1-8CC9-48C6-AB2C-4368D88F590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3</c:v>
                </c:pt>
                <c:pt idx="1">
                  <c:v>0.12</c:v>
                </c:pt>
                <c:pt idx="2">
                  <c:v>0.15</c:v>
                </c:pt>
                <c:pt idx="3">
                  <c:v>0.11</c:v>
                </c:pt>
                <c:pt idx="4">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88%</c:v>
                  </c:pt>
                  <c:pt idx="2">
                    <c:v>85%</c:v>
                  </c:pt>
                  <c:pt idx="3">
                    <c:v>89%</c:v>
                  </c:pt>
                  <c:pt idx="4">
                    <c:v>93%</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1</c:v>
                </c:pt>
                <c:pt idx="2">
                  <c:v>0.88</c:v>
                </c:pt>
                <c:pt idx="3">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8285446A-E5A6-42F6-ABED-2151BB7757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1E1AD3EC-0985-4A3F-9F18-2472604F53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262D31A2-3BC7-4E59-846E-78B1CFFFE50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9</c:v>
                </c:pt>
                <c:pt idx="2">
                  <c:v>0.12</c:v>
                </c:pt>
                <c:pt idx="3">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1%</c:v>
                  </c:pt>
                  <c:pt idx="2">
                    <c:v>88%</c:v>
                  </c:pt>
                  <c:pt idx="3">
                    <c:v>91%</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1</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C67E66E2-C0ED-4918-980B-AE4EC07523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6DB17213-CBC7-46DB-987B-65CD04CC2D0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D11E5498-7B61-4666-95D2-E5ECA3D465D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26A28242-F032-4538-9CDB-7A59C4DB4B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c:v>
                  </c:pt>
                  <c:pt idx="2">
                    <c:v>100%</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89</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5AF63249-2ACE-4151-A80B-B0861B30C0F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440DFAFF-C12E-47A8-A974-4D112484C07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8215EB02-A209-4C93-9CF2-7F394D43C92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EBE949E1-3147-4B7A-B2AA-19803FAA510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11</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53FDA9A4-4A4B-44C6-BAF4-856A83C0CE9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95FC19C3-430C-44A0-A4F4-8EF46667FF6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2</c:v>
                </c:pt>
                <c:pt idx="2">
                  <c:v>2</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7</c:v>
                </c:pt>
                <c:pt idx="1">
                  <c:v>2</c:v>
                </c:pt>
                <c:pt idx="2">
                  <c:v>1</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4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47B2F826-B034-40E2-8B06-4FDC6F8899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807BEA7F-C949-4C43-A4A2-6BE82871AD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3465C2D3-44EC-41B5-B079-ABCACAE168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FE7E1DE3-8F67-4AED-A164-8126EC8808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2AB84423-7279-4886-A3D0-D7232587D52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B7407F2F-D906-428A-B7AE-66AA228D4E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7</c:v>
                </c:pt>
                <c:pt idx="2">
                  <c:v>2</c:v>
                </c:pt>
                <c:pt idx="3">
                  <c:v>3</c:v>
                </c:pt>
                <c:pt idx="4">
                  <c:v>3</c:v>
                </c:pt>
                <c:pt idx="5">
                  <c:v>2</c:v>
                </c:pt>
                <c:pt idx="6">
                  <c:v>4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7%q</c:v>
                  </c:pt>
                  <c:pt idx="1">
                    <c:v>7%</c:v>
                  </c:pt>
                  <c:pt idx="2">
                    <c:v>2%</c:v>
                  </c:pt>
                  <c:pt idx="3">
                    <c:v>3%</c:v>
                  </c:pt>
                  <c:pt idx="4">
                    <c:v>3%</c:v>
                  </c:pt>
                  <c:pt idx="5">
                    <c:v>2%</c:v>
                  </c:pt>
                  <c:pt idx="6">
                    <c:v>42%</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AC30FC6B-22E6-4C0E-9ED5-507F4C8D2F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1%</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05C-4A2F-9A88-03A72AE7F3F6}"/>
                </c:ext>
              </c:extLst>
            </c:dLbl>
            <c:dLbl>
              <c:idx val="4"/>
              <c:tx>
                <c:rich>
                  <a:bodyPr/>
                  <a:lstStyle/>
                  <a:p>
                    <a:fld id="{32047F91-9868-4338-BF1D-E38B4C3FB2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9A5E99A4-5ADD-4926-B661-89139CB5E2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E710E65A-F616-446F-BB06-6770B2CFAB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8</c:v>
                </c:pt>
                <c:pt idx="2">
                  <c:v>1</c:v>
                </c:pt>
                <c:pt idx="3">
                  <c:v>6</c:v>
                </c:pt>
                <c:pt idx="4">
                  <c:v>14</c:v>
                </c:pt>
                <c:pt idx="5">
                  <c:v>4</c:v>
                </c:pt>
                <c:pt idx="6">
                  <c:v>2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0%</c:v>
                  </c:pt>
                  <c:pt idx="1">
                    <c:v>8%</c:v>
                  </c:pt>
                  <c:pt idx="2">
                    <c:v>1%q</c:v>
                  </c:pt>
                  <c:pt idx="3">
                    <c:v>6%p</c:v>
                  </c:pt>
                  <c:pt idx="4">
                    <c:v>14%</c:v>
                  </c:pt>
                  <c:pt idx="5">
                    <c:v>4%</c:v>
                  </c:pt>
                  <c:pt idx="6">
                    <c:v>29%</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33954A8-34A7-44C7-8749-DFCF1344A7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576B7D44-71DA-4AC2-B7C6-93B750875B7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c:v>
                </c:pt>
                <c:pt idx="1">
                  <c:v>9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c:v>
                  </c:pt>
                  <c:pt idx="1">
                    <c:v>92%</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FB4858DE-8DF1-417D-91C4-CB8AC9917C1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C67B63A0-8B64-4C82-814B-118DD12E07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DDFA4493-E739-4E30-A49A-1AA0D6C566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F4BAEEF4-F8AC-4CBA-9EFA-C62BB50B4B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8</c:v>
                </c:pt>
                <c:pt idx="1">
                  <c:v>8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8%</c:v>
                  </c:pt>
                  <c:pt idx="1">
                    <c:v>82%</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E569731D-EC2C-4CF1-8F23-8EFE1C2D79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ADB2118C-FA2F-454B-864B-92EA119345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C1688C42-F59B-4933-A31C-965072C94A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6CD6E13C-32F5-45AF-A5A4-0DBF04AC61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5%</c:v>
                  </c:pt>
                  <c:pt idx="1">
                    <c:v>42%</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31C1CDEB-AF5E-441C-AAE5-2C1FC0CE50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F6788EF8-A7E3-4988-9DBC-0D92D6D052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9B8D309A-0E72-47FC-8F01-24D3A3E6BF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EA9B4DAD-F044-4FBC-B628-DD0B87058C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7999999999999996</c:v>
                </c:pt>
                <c:pt idx="1">
                  <c:v>0.42</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8%</c:v>
                  </c:pt>
                  <c:pt idx="1">
                    <c:v>42%</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C4372875-2AA7-4584-B0AA-2F3875EE2B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1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819-49AB-9068-B304DBA3CCB4}"/>
                </c:ext>
              </c:extLst>
            </c:dLbl>
            <c:dLbl>
              <c:idx val="1"/>
              <c:tx>
                <c:rich>
                  <a:bodyPr/>
                  <a:lstStyle/>
                  <a:p>
                    <a:r>
                      <a:rPr lang="en-GB"/>
                      <a:t>8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8</c:v>
                </c:pt>
                <c:pt idx="1">
                  <c:v>8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8%q</c:v>
                  </c:pt>
                  <c:pt idx="1">
                    <c:v>82%p</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9B083836-875A-445E-86BB-6F2CA609C2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1%</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83E6-406A-BD18-9D1352DD1788}"/>
                </c:ext>
              </c:extLst>
            </c:dLbl>
            <c:dLbl>
              <c:idx val="1"/>
              <c:tx>
                <c:rich>
                  <a:bodyPr/>
                  <a:lstStyle/>
                  <a:p>
                    <a:r>
                      <a:rPr lang="en-GB"/>
                      <a:t>9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c:v>
                </c:pt>
                <c:pt idx="1">
                  <c:v>9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q</c:v>
                  </c:pt>
                  <c:pt idx="1">
                    <c:v>99%p</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4E32F185-B8A3-43A6-9E58-B77467CCEC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317CE8DD-4603-414B-9C41-DC99E1C054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0E60D3F2-2273-43BA-9073-0829E1B61B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39BC5198-AA5F-4BF9-81EC-6AF282011D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0BE7A897-42F8-4698-BE33-24FD7526F84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52670F09-7E61-4F5C-90E1-2333F516F44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FFDBF0C7-8C96-4AB4-B70D-7D204BD922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3</c:v>
                </c:pt>
                <c:pt idx="2">
                  <c:v>85</c:v>
                </c:pt>
                <c:pt idx="3">
                  <c:v>73</c:v>
                </c:pt>
                <c:pt idx="4">
                  <c:v>93</c:v>
                </c:pt>
                <c:pt idx="5">
                  <c:v>3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p</c:v>
                  </c:pt>
                  <c:pt idx="1">
                    <c:v>93%</c:v>
                  </c:pt>
                  <c:pt idx="2">
                    <c:v>85%p</c:v>
                  </c:pt>
                  <c:pt idx="3">
                    <c:v>73%</c:v>
                  </c:pt>
                  <c:pt idx="4">
                    <c:v>93%</c:v>
                  </c:pt>
                  <c:pt idx="5">
                    <c:v>35%</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6EF6C39C-F21E-430D-ABBC-9F33E25BC2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27DCFB84-951C-4714-B557-A8A0F23A77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BDD6764C-2EFD-4772-8A26-430D509C07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866007CA-273F-40E9-948B-1ED624D721E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B7A909F4-D380-423B-BC5E-7971A73C29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8E5CAD78-CBD1-4699-A3A5-A9FB12EEBB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926D3931-9E6F-4315-864C-5A40CCA226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0</c:v>
                </c:pt>
                <c:pt idx="2">
                  <c:v>72</c:v>
                </c:pt>
                <c:pt idx="3">
                  <c:v>69</c:v>
                </c:pt>
                <c:pt idx="4">
                  <c:v>89</c:v>
                </c:pt>
                <c:pt idx="5">
                  <c:v>43</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2%</c:v>
                  </c:pt>
                  <c:pt idx="1">
                    <c:v>90%</c:v>
                  </c:pt>
                  <c:pt idx="2">
                    <c:v>72%</c:v>
                  </c:pt>
                  <c:pt idx="3">
                    <c:v>69%</c:v>
                  </c:pt>
                  <c:pt idx="4">
                    <c:v>89%</c:v>
                  </c:pt>
                  <c:pt idx="5">
                    <c:v>43%</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62</c:v>
                </c:pt>
                <c:pt idx="1">
                  <c:v>22</c:v>
                </c:pt>
                <c:pt idx="2">
                  <c:v>12</c:v>
                </c:pt>
                <c:pt idx="3">
                  <c:v>4</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5</c:v>
                </c:pt>
                <c:pt idx="1">
                  <c:v>35</c:v>
                </c:pt>
                <c:pt idx="2">
                  <c:v>9</c:v>
                </c:pt>
                <c:pt idx="3">
                  <c:v>6</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45EC7FD1-858F-4D4B-8E2C-A0E1E50C10F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DDDFA974-F804-4A7F-9075-7850442EA8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90E9A85F-2623-401A-8F2B-F474BA5732B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37DA3B59-5DAA-4969-92C5-BEB251E2EE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26</c:v>
                </c:pt>
                <c:pt idx="2">
                  <c:v>6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15</c:v>
                </c:pt>
                <c:pt idx="1">
                  <c:v>49</c:v>
                </c:pt>
                <c:pt idx="2">
                  <c:v>3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5</c:v>
                </c:pt>
                <c:pt idx="2">
                  <c:v>30</c:v>
                </c:pt>
                <c:pt idx="3">
                  <c:v>19</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5</c:v>
                </c:pt>
                <c:pt idx="2">
                  <c:v>23</c:v>
                </c:pt>
                <c:pt idx="3">
                  <c:v>18</c:v>
                </c:pt>
                <c:pt idx="4">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2</c:v>
                </c:pt>
                <c:pt idx="1">
                  <c:v>0.17599999999999999</c:v>
                </c:pt>
                <c:pt idx="2">
                  <c:v>0.255</c:v>
                </c:pt>
                <c:pt idx="3">
                  <c:v>0.29199999999999998</c:v>
                </c:pt>
                <c:pt idx="4">
                  <c:v>0.15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55</c:v>
                </c:pt>
                <c:pt idx="1">
                  <c:v>0.152</c:v>
                </c:pt>
                <c:pt idx="2">
                  <c:v>0.28100000000000003</c:v>
                </c:pt>
                <c:pt idx="3">
                  <c:v>0.215</c:v>
                </c:pt>
                <c:pt idx="4">
                  <c:v>0.197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2</c:v>
                </c:pt>
                <c:pt idx="2">
                  <c:v>28</c:v>
                </c:pt>
                <c:pt idx="3">
                  <c:v>21</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7</c:v>
                </c:pt>
                <c:pt idx="2">
                  <c:v>20</c:v>
                </c:pt>
                <c:pt idx="3">
                  <c:v>24</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21</c:v>
                </c:pt>
                <c:pt idx="2">
                  <c:v>25</c:v>
                </c:pt>
                <c:pt idx="3">
                  <c:v>21</c:v>
                </c:pt>
                <c:pt idx="4">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1</c:v>
                </c:pt>
                <c:pt idx="1">
                  <c:v>32</c:v>
                </c:pt>
                <c:pt idx="2">
                  <c:v>19</c:v>
                </c:pt>
                <c:pt idx="3">
                  <c:v>11</c:v>
                </c:pt>
                <c:pt idx="4">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992CD2C2-B8E3-4E31-B13B-5D4062E0C4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D5F6EDE6-D262-4571-8AC8-969B2DE1D0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BAB15A44-81FC-4800-83AD-4109B3547B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E646B2CE-2E04-4332-B6FE-C549077BF4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5</c:v>
                </c:pt>
                <c:pt idx="1">
                  <c:v>0</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5%</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B1E11C00-6DB1-4820-9DF7-D597209446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D32DC6AE-C2ED-443F-B217-8A34DDFFD7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B03BD13B-A04B-4775-AA03-FBD7754BF5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952C2A7D-13D1-446C-96A0-D53489AACC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3</c:v>
                </c:pt>
                <c:pt idx="1">
                  <c:v>0</c:v>
                </c:pt>
                <c:pt idx="2">
                  <c:v>0.04</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93%</c:v>
                  </c:pt>
                  <c:pt idx="1">
                    <c:v>-</c:v>
                  </c:pt>
                  <c:pt idx="2">
                    <c:v>4%</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28</c:v>
                </c:pt>
                <c:pt idx="3">
                  <c:v>20</c:v>
                </c:pt>
                <c:pt idx="4">
                  <c:v>3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17</c:v>
                </c:pt>
                <c:pt idx="2">
                  <c:v>22</c:v>
                </c:pt>
                <c:pt idx="3">
                  <c:v>18</c:v>
                </c:pt>
                <c:pt idx="4">
                  <c:v>2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7</c:v>
                </c:pt>
                <c:pt idx="1">
                  <c:v>20</c:v>
                </c:pt>
                <c:pt idx="2">
                  <c:v>43</c:v>
                </c:pt>
                <c:pt idx="3">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1</c:v>
                </c:pt>
                <c:pt idx="1">
                  <c:v>38</c:v>
                </c:pt>
                <c:pt idx="2">
                  <c:v>34</c:v>
                </c:pt>
                <c:pt idx="3">
                  <c:v>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2</c:v>
                </c:pt>
                <c:pt idx="1">
                  <c:v>40</c:v>
                </c:pt>
                <c:pt idx="2">
                  <c:v>11</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8</c:v>
                </c:pt>
                <c:pt idx="1">
                  <c:v>22</c:v>
                </c:pt>
                <c:pt idx="2">
                  <c:v>5</c:v>
                </c:pt>
                <c:pt idx="3">
                  <c:v>3</c:v>
                </c:pt>
                <c:pt idx="4">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1</c:v>
                </c:pt>
                <c:pt idx="1">
                  <c:v>44</c:v>
                </c:pt>
                <c:pt idx="2">
                  <c:v>12</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47</c:v>
                </c:pt>
                <c:pt idx="2">
                  <c:v>13</c:v>
                </c:pt>
                <c:pt idx="3">
                  <c:v>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E05C50E6-C780-4BDA-A844-7EBC9F5F4D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FA084984-A518-4D4E-8024-C5BEB79AED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07CA62D1-A899-4390-A32B-BAC633A21E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242E564E-393B-459D-8017-E828509E9A6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5%</c:v>
                  </c:pt>
                  <c:pt idx="1">
                    <c:v>15%</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08E995F6-C034-49A4-86BF-526E475E98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4EC90A14-681E-4445-B762-73B9C9A9B7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C2B9512D-4FF5-4FAF-95D8-7684430075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0BD2AFB8-3840-445E-B66B-ACB01056DF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9</c:v>
                </c:pt>
                <c:pt idx="1">
                  <c:v>21</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9%</c:v>
                  </c:pt>
                  <c:pt idx="1">
                    <c:v>21%</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53D47A75-459F-49C4-A161-A438F2F172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7A79BE59-B706-4493-9AB0-722B208546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F480F2E1-A254-46FD-9249-C2B7EAC0A8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E2EF9279-5007-4658-8379-E59E623C03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3</c:v>
                </c:pt>
                <c:pt idx="1">
                  <c:v>5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3%</c:v>
                  </c:pt>
                  <c:pt idx="1">
                    <c:v>57%</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6CD6964A-7910-44D9-A5B2-387EA77B61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B7546834-AAF3-4116-8CC1-81DEA19F6E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5</c:v>
                </c:pt>
                <c:pt idx="1">
                  <c:v>5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5%</c:v>
                  </c:pt>
                  <c:pt idx="1">
                    <c:v>55%</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69FADE9D-831A-478B-B2EC-1739BA63CB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B2A62C83-533B-4691-A6F5-12D45AD433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2</c:v>
                </c:pt>
                <c:pt idx="1">
                  <c:v>6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2%</c:v>
                  </c:pt>
                  <c:pt idx="1">
                    <c:v>68%</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6B46F8A6-51F4-4C1A-A742-88710D7A06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3BDCF2F4-017D-4E84-A020-001583BB54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3</c:v>
                </c:pt>
                <c:pt idx="1">
                  <c:v>1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3%</c:v>
                  </c:pt>
                  <c:pt idx="1">
                    <c:v>17%</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270446E6-BB3C-4E94-A3B5-5EBC4CD359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E9A2370E-50EB-41BE-B27F-D2A7C5C882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639FFACF-5FC7-4C28-BBE0-9CAD0487E6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428B406E-62A7-4760-85B7-EB06528506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D419B7F1-D327-4DFE-95B6-5423AE10F0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2</c:v>
                </c:pt>
                <c:pt idx="1">
                  <c:v>4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2%</c:v>
                  </c:pt>
                  <c:pt idx="1">
                    <c:v>48%</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584575DD-0CE7-491D-9085-5B326280C6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6011-40D3-80BA-F4CA421B82A7}"/>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B6690AF1-C2F5-4D6D-870E-8FA0EF975F2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ACF3852C-F7BF-4083-9449-326639FE27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4</c:v>
                </c:pt>
                <c:pt idx="1">
                  <c:v>38</c:v>
                </c:pt>
                <c:pt idx="2">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7</c:v>
                </c:pt>
                <c:pt idx="1">
                  <c:v>54</c:v>
                </c:pt>
                <c:pt idx="2">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US"/>
                      <a:t>7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7519-4C1F-9643-9A55D10271AC}"/>
                </c:ext>
              </c:extLst>
            </c:dLbl>
            <c:dLbl>
              <c:idx val="1"/>
              <c:tx>
                <c:rich>
                  <a:bodyPr/>
                  <a:lstStyle/>
                  <a:p>
                    <a:fld id="{0A7FAE5C-A629-4A21-812A-20D29FB878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F0DEF9C1-6AD5-47A2-A204-0935CAC27D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8FDC0A75-5E1D-431E-A864-8F2356DF8E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B52D9499-4F61-40D1-A1EB-3FB72D6BBE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85DA0508-7694-4425-9BD6-53963D20BA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74E966B4-38A3-4923-90C1-68E3C1E5BD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71</c:v>
                </c:pt>
                <c:pt idx="1">
                  <c:v>5</c:v>
                </c:pt>
                <c:pt idx="2">
                  <c:v>64</c:v>
                </c:pt>
                <c:pt idx="3">
                  <c:v>34</c:v>
                </c:pt>
                <c:pt idx="4">
                  <c:v>17</c:v>
                </c:pt>
                <c:pt idx="5">
                  <c:v>17</c:v>
                </c:pt>
                <c:pt idx="6">
                  <c:v>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71%p</c:v>
                  </c:pt>
                  <c:pt idx="1">
                    <c:v>5%</c:v>
                  </c:pt>
                  <c:pt idx="2">
                    <c:v>64%</c:v>
                  </c:pt>
                  <c:pt idx="3">
                    <c:v>34%</c:v>
                  </c:pt>
                  <c:pt idx="4">
                    <c:v>17%</c:v>
                  </c:pt>
                  <c:pt idx="5">
                    <c:v>17%</c:v>
                  </c:pt>
                  <c:pt idx="6">
                    <c:v>6%</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C8CA2876-9473-4144-84E1-92007D37BA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CDBF21CC-ABCC-4763-A6D8-54ED2C8DEF5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59FF7382-62B5-4C06-BA17-0785C981B9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CF9FAC36-7378-4E45-8DAE-394EA2D656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D871CB43-7794-4EEC-ABE2-99FB2BF61B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F1E916DC-5D19-487F-89A4-33074044B7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3</c:v>
                </c:pt>
                <c:pt idx="2">
                  <c:v>35</c:v>
                </c:pt>
                <c:pt idx="3">
                  <c:v>47</c:v>
                </c:pt>
                <c:pt idx="4">
                  <c:v>9</c:v>
                </c:pt>
                <c:pt idx="5">
                  <c:v>12</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8%</c:v>
                  </c:pt>
                  <c:pt idx="1">
                    <c:v>13%</c:v>
                  </c:pt>
                  <c:pt idx="2">
                    <c:v>35%</c:v>
                  </c:pt>
                  <c:pt idx="3">
                    <c:v>47%</c:v>
                  </c:pt>
                  <c:pt idx="4">
                    <c:v>9%</c:v>
                  </c:pt>
                  <c:pt idx="5">
                    <c:v>12%</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6</c:v>
                </c:pt>
                <c:pt idx="2">
                  <c:v>6</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9</c:v>
                </c:pt>
                <c:pt idx="2">
                  <c:v>3</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7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79%</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3</c:v>
                </c:pt>
                <c:pt idx="1">
                  <c:v>0.79</c:v>
                </c:pt>
                <c:pt idx="2">
                  <c:v>0.75</c:v>
                </c:pt>
                <c:pt idx="3">
                  <c:v>0.78</c:v>
                </c:pt>
                <c:pt idx="4">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719CA68D-6519-4C60-B1DA-1F8C5E27E93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6BAAE683-19AC-4B75-917A-0649B0D77F2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6B4AC4D5-7FAE-40B4-932E-61553202658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49D73C41-9832-495E-9843-E811AD73CF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7</c:v>
                </c:pt>
                <c:pt idx="1">
                  <c:v>0.21</c:v>
                </c:pt>
                <c:pt idx="2">
                  <c:v>0.25</c:v>
                </c:pt>
                <c:pt idx="3">
                  <c:v>0.22</c:v>
                </c:pt>
                <c:pt idx="4">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79%</c:v>
                  </c:pt>
                  <c:pt idx="2">
                    <c:v>75%</c:v>
                  </c:pt>
                  <c:pt idx="3">
                    <c:v>78%</c:v>
                  </c:pt>
                  <c:pt idx="4">
                    <c:v>84%</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EFORDSHIRE AND WORCESTER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EFORDSHIRE AND WORCESTER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EFORDSHIRE AND WORCESTER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EFORDSHIRE AND WORCESTER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EFORDSHIRE AND WORCESTER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HEREFORDSHIRE AND WORCESTER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06478623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weight and BMI check as part of their last annual review
Having a foot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0884993"/>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452434355"/>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47538732"/>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EREFORDSHIRE AND WOR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8421342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58150459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7% of respondents who were marked as Type 1 in the sample selected ‘Type 1’, 2% selected ‘Type 2’, 1% selected ‘Other’ and *% selected ‘I don’t know’ ​</a:t>
            </a:r>
          </a:p>
          <a:p>
            <a:pPr marL="171450" indent="-171450">
              <a:buFont typeface="Arial" panose="020B0604020202020204" pitchFamily="34" charset="0"/>
              <a:buChar char="•"/>
              <a:defRPr/>
            </a:pPr>
            <a:r>
              <a:rPr lang="en-GB" sz="1200" dirty="0">
                <a:solidFill>
                  <a:schemeClr val="tx1"/>
                </a:solidFill>
                <a:effectLst/>
              </a:rPr>
              <a:t>92% of respondents who were marked as Type 2 in the sample selected ‘Type 2’, 3% selected ‘Type 1’, 2%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09); Type 2, ICS (536)).</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78529608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47046443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531840993"/>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88129089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6705742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59); Type 2, National (19,941), ICS (451))</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74679339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5791369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2); Type 2, National (22,278), ICS (502))</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40113260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62743939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0); Type 2, National (21,082), ICS (473))</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51441407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11747552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08); Type 2, National (24,180), ICS (532))</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805016168"/>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133021237"/>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517870453"/>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4011026843"/>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400653676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0); Type 2, National (22,482), ICS (501))</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97688435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3405672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1802288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41062141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85846734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24731615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45200263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86236105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134260105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02); Type 2, National (22,670), ICS (507))</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334953539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68759932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65283122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406891821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4170480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399009306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953390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39063960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6320175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07); Type 2, National (24,076), ICS (535))</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48728276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3172528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339086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20143825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5839869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79033792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8912102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9222803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06); Type 2, National (24,153), ICS (532))</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1753695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157585588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7887001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7717738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168637192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92231642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7351878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534757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45053465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07); Type 2, National (24,135), ICS (53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22291419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372916591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423051744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28371534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96695391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84195411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77172237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251111826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8375654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06); Type 2, National (24,084), ICS (53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1597475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3790455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11265734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99869267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4601306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23272600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3421565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24574204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94727877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07); Type 2, National (24,070), ICS (53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2408974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71778069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21193851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322461868"/>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765599953"/>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16959475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699704958"/>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15769959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56654855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07); Type 2, National (24,260), ICS (53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48771707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6114267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14535057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9478338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0231927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47936597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02209002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10107964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10561034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08); Type 2, National (24,267), ICS (536))</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51713405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425265562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08142955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15127126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2626746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10818886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65575309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9441179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3724103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0); Type 2, National (24,196), ICS (536))</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130702256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84295417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78493731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09); Type 2, National (24,019), ICS (532))</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77175634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82228903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2); Type 2, National (11,860), ICS (276))</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7450416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8487806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89); Type 2, National (21,228), ICS (45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78430415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374813482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2); Type 2, National (20,915), ICS (456))</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8652243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74690438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8); Type 2, National (20,086), ICS (442))</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4046441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7065548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9); Type 2, National (21,890), ICS (476))</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38109932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58091349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5); Type 2, National (18,585), ICS (40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99891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9424170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85723654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394808604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10579915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38673110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6760072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265923653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93); Type 2, National (22,580), ICS (506))</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9000995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40265754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360211522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509813821"/>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985771655"/>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400755444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2); Type 2, National (12,350), ICS (240))</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6274190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4230367345"/>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31346397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93507908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21000958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44778351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194475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59611668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4); Type 2, National (10,911), ICS (21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422439934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13649290"/>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363474317"/>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116225458"/>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55930556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16653901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29808560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9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36832751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546152459"/>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72384460"/>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07808642"/>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411454621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012908332"/>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01))</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HEREFORDSHIRE AND WORCESTER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107</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50</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5%</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1</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39</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837</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70</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08431847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179622881"/>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724560660"/>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14375018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77146099"/>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65370178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1659498860"/>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EREFORDSHIRE AND WORCESTER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6945810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36631010"/>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181910168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with emotional and mental health need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46774348"/>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4</TotalTime>
  <Words>5302</Words>
  <Application>Microsoft Office PowerPoint</Application>
  <PresentationFormat>Widescreen</PresentationFormat>
  <Paragraphs>80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 (Body)</vt:lpstr>
      <vt:lpstr>Arial</vt:lpstr>
      <vt:lpstr>Wingdings 3</vt:lpstr>
      <vt:lpstr>HelveticaNeueLT Std Lt Cn</vt:lpstr>
      <vt:lpstr>Segoe UI</vt:lpstr>
      <vt:lpstr>Roboto</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5</cp:revision>
  <cp:lastPrinted>2024-09-17T13:37:47Z</cp:lastPrinted>
  <dcterms:created xsi:type="dcterms:W3CDTF">2024-06-17T14:42:21Z</dcterms:created>
  <dcterms:modified xsi:type="dcterms:W3CDTF">2024-12-04T10:53: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